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1"/>
  </p:notesMasterIdLst>
  <p:sldIdLst>
    <p:sldId id="275" r:id="rId7"/>
    <p:sldId id="274" r:id="rId8"/>
    <p:sldId id="289" r:id="rId9"/>
    <p:sldId id="314" r:id="rId10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1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95" d="100"/>
          <a:sy n="95" d="100"/>
        </p:scale>
        <p:origin x="108" y="534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8.05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Person, Gebäude, draußen, Mann enthält.&#10;&#10;Automatisch generierte Beschreibung">
            <a:extLst>
              <a:ext uri="{FF2B5EF4-FFF2-40B4-BE49-F238E27FC236}">
                <a16:creationId xmlns:a16="http://schemas.microsoft.com/office/drawing/2014/main" id="{41F0125B-FB27-4F80-A94B-919EC456356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84" y="938320"/>
            <a:ext cx="5599469" cy="54737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ersonenerkennun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41AC7-8E05-4F3D-B90D-C2B506A33532}"/>
              </a:ext>
            </a:extLst>
          </p:cNvPr>
          <p:cNvSpPr/>
          <p:nvPr/>
        </p:nvSpPr>
        <p:spPr>
          <a:xfrm>
            <a:off x="6993590" y="1129120"/>
            <a:ext cx="1589906" cy="528290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1CD9145-EED6-4021-BD1D-E5A6453162DC}"/>
              </a:ext>
            </a:extLst>
          </p:cNvPr>
          <p:cNvSpPr/>
          <p:nvPr/>
        </p:nvSpPr>
        <p:spPr>
          <a:xfrm>
            <a:off x="8896530" y="1048007"/>
            <a:ext cx="1729947" cy="528290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63A84D-5AA7-4D6E-B24E-C07268E6C81F}"/>
              </a:ext>
            </a:extLst>
          </p:cNvPr>
          <p:cNvSpPr/>
          <p:nvPr/>
        </p:nvSpPr>
        <p:spPr>
          <a:xfrm>
            <a:off x="7191298" y="1281520"/>
            <a:ext cx="1186249" cy="104620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BAB331B-06C4-44A8-B7EF-D1D68511FD75}"/>
              </a:ext>
            </a:extLst>
          </p:cNvPr>
          <p:cNvSpPr/>
          <p:nvPr/>
        </p:nvSpPr>
        <p:spPr>
          <a:xfrm>
            <a:off x="9124168" y="1281520"/>
            <a:ext cx="1305698" cy="9803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3275DE-A909-410B-87E0-39E1A7F8F79F}"/>
              </a:ext>
            </a:extLst>
          </p:cNvPr>
          <p:cNvSpPr txBox="1"/>
          <p:nvPr/>
        </p:nvSpPr>
        <p:spPr>
          <a:xfrm>
            <a:off x="360000" y="912812"/>
            <a:ext cx="526645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800" dirty="0" err="1"/>
              <a:t>Bboxen</a:t>
            </a:r>
            <a:r>
              <a:rPr lang="de-DE" sz="1800" dirty="0"/>
              <a:t> der Personen werde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Da HOG nicht ausschließlich Personen erkennt wird eine kleine ROI oben in der jeweiligen </a:t>
            </a:r>
            <a:r>
              <a:rPr lang="de-DE" sz="1800" dirty="0" err="1"/>
              <a:t>Bbox</a:t>
            </a:r>
            <a:r>
              <a:rPr lang="de-DE" sz="1800" dirty="0"/>
              <a:t> erstellt für die Erfassung des Gesichts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Sobald ein Gesicht erkannt wurde wird ein Objekt vom Typ Perso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Anhand abgespeicherter (während Laufzeit oder vorher) Gesichter wird geprüft, ob es diese Person schon gib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Wenn nicht, wird eine neue Perso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Wenn ja, werden die Attribute der jeweiligen Person aktualisier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Der Standort der letzten Person wird veröffentlicht.</a:t>
            </a:r>
          </a:p>
          <a:p>
            <a:pPr marL="228600" indent="-228600">
              <a:buFont typeface="+mj-lt"/>
              <a:buAutoNum type="arabicPeriod"/>
            </a:pPr>
            <a:endParaRPr lang="de-DE" sz="1800" dirty="0"/>
          </a:p>
          <a:p>
            <a:r>
              <a:rPr lang="de-DE" sz="1800" dirty="0"/>
              <a:t>Ein Objekt vom Typ Person hat z.Z. folgende Attribute: </a:t>
            </a:r>
            <a:r>
              <a:rPr lang="de-DE" sz="1800" dirty="0" err="1"/>
              <a:t>BboxKörper</a:t>
            </a:r>
            <a:r>
              <a:rPr lang="de-DE" sz="1800" dirty="0"/>
              <a:t>, </a:t>
            </a:r>
            <a:r>
              <a:rPr lang="de-DE" sz="1800" dirty="0" err="1"/>
              <a:t>Bboxgesicht</a:t>
            </a:r>
            <a:r>
              <a:rPr lang="de-DE" sz="1800" dirty="0"/>
              <a:t>, Gesicht, Kameraname, Distanz, Liste mit Pixelkoordinaten, Liste mit lokalen Koordinaten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3818407-1896-4E23-B49D-20F024E5C565}"/>
              </a:ext>
            </a:extLst>
          </p:cNvPr>
          <p:cNvCxnSpPr>
            <a:cxnSpLocks/>
          </p:cNvCxnSpPr>
          <p:nvPr/>
        </p:nvCxnSpPr>
        <p:spPr>
          <a:xfrm>
            <a:off x="4769708" y="1129120"/>
            <a:ext cx="2215641" cy="34751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457408D-683F-492E-A624-DADD1BE2A53B}"/>
              </a:ext>
            </a:extLst>
          </p:cNvPr>
          <p:cNvCxnSpPr>
            <a:cxnSpLocks/>
          </p:cNvCxnSpPr>
          <p:nvPr/>
        </p:nvCxnSpPr>
        <p:spPr>
          <a:xfrm>
            <a:off x="5198411" y="1919952"/>
            <a:ext cx="1992887" cy="5354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38</Words>
  <Application>Microsoft Office PowerPoint</Application>
  <PresentationFormat>Breitbild</PresentationFormat>
  <Paragraphs>25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Personenerkennung</vt:lpstr>
      <vt:lpstr>PowerPoint-Präsentatio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14</cp:revision>
  <dcterms:created xsi:type="dcterms:W3CDTF">2019-09-25T11:15:24Z</dcterms:created>
  <dcterms:modified xsi:type="dcterms:W3CDTF">2020-05-28T06:5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